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311" r:id="rId2"/>
    <p:sldId id="565" r:id="rId3"/>
    <p:sldId id="566" r:id="rId4"/>
    <p:sldId id="567" r:id="rId5"/>
    <p:sldId id="568" r:id="rId6"/>
    <p:sldId id="569" r:id="rId7"/>
    <p:sldId id="570" r:id="rId8"/>
    <p:sldId id="571" r:id="rId9"/>
    <p:sldId id="572" r:id="rId10"/>
    <p:sldId id="564" r:id="rId11"/>
  </p:sldIdLst>
  <p:sldSz cx="9144000" cy="6858000" type="screen4x3"/>
  <p:notesSz cx="6797675" cy="9926638"/>
  <p:custDataLst>
    <p:tags r:id="rId14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 Slides" id="{A2C4A746-1FC1-482D-8181-39FEF2C4A909}">
          <p14:sldIdLst>
            <p14:sldId id="311"/>
            <p14:sldId id="565"/>
            <p14:sldId id="566"/>
            <p14:sldId id="567"/>
            <p14:sldId id="568"/>
            <p14:sldId id="569"/>
            <p14:sldId id="570"/>
            <p14:sldId id="571"/>
            <p14:sldId id="572"/>
            <p14:sldId id="564"/>
          </p14:sldIdLst>
        </p14:section>
        <p14:section name="Content Slides" id="{87938154-2A90-4851-B867-8B27CC9FE3B0}">
          <p14:sldIdLst/>
        </p14:section>
        <p14:section name="Example Slides" id="{27FB5AE8-D492-47B3-A3DB-4EA89BEDE3C0}">
          <p14:sldIdLst/>
        </p14:section>
        <p14:section name="Final Slides" id="{B8425838-4BEB-40DD-B72A-BF45ED5EE149}">
          <p14:sldIdLst/>
        </p14:section>
      </p14:sectionLst>
    </p:ext>
    <p:ext uri="{EFAFB233-063F-42B5-8137-9DF3F51BA10A}">
      <p15:sldGuideLst xmlns="" xmlns:p15="http://schemas.microsoft.com/office/powerpoint/2012/main">
        <p15:guide id="1" orient="horz" pos="4218">
          <p15:clr>
            <a:srgbClr val="A4A3A4"/>
          </p15:clr>
        </p15:guide>
        <p15:guide id="2" orient="horz" pos="857">
          <p15:clr>
            <a:srgbClr val="A4A3A4"/>
          </p15:clr>
        </p15:guide>
        <p15:guide id="3" orient="horz" pos="3940">
          <p15:clr>
            <a:srgbClr val="A4A3A4"/>
          </p15:clr>
        </p15:guide>
        <p15:guide id="4" orient="horz">
          <p15:clr>
            <a:srgbClr val="A4A3A4"/>
          </p15:clr>
        </p15:guide>
        <p15:guide id="5" pos="2883">
          <p15:clr>
            <a:srgbClr val="A4A3A4"/>
          </p15:clr>
        </p15:guide>
        <p15:guide id="6" pos="230">
          <p15:clr>
            <a:srgbClr val="A4A3A4"/>
          </p15:clr>
        </p15:guide>
        <p15:guide id="7" pos="552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ABCB54"/>
    <a:srgbClr val="58585A"/>
    <a:srgbClr val="8FB91C"/>
    <a:srgbClr val="C1D8C2"/>
    <a:srgbClr val="FFFFFF"/>
    <a:srgbClr val="F2F0E7"/>
    <a:srgbClr val="EFF3CF"/>
    <a:srgbClr val="E5E0D0"/>
    <a:srgbClr val="BBD1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62" autoAdjust="0"/>
    <p:restoredTop sz="87840" autoAdjust="0"/>
  </p:normalViewPr>
  <p:slideViewPr>
    <p:cSldViewPr snapToGrid="0">
      <p:cViewPr>
        <p:scale>
          <a:sx n="82" d="100"/>
          <a:sy n="82" d="100"/>
        </p:scale>
        <p:origin x="-2454" y="-846"/>
      </p:cViewPr>
      <p:guideLst>
        <p:guide orient="horz" pos="4218"/>
        <p:guide orient="horz" pos="857"/>
        <p:guide orient="horz" pos="3940"/>
        <p:guide orient="horz"/>
        <p:guide orient="horz" pos="3725"/>
        <p:guide pos="2883"/>
        <p:guide pos="230"/>
        <p:guide pos="5529"/>
      </p:guideLst>
    </p:cSldViewPr>
  </p:slideViewPr>
  <p:outlineViewPr>
    <p:cViewPr>
      <p:scale>
        <a:sx n="33" d="100"/>
        <a:sy n="33" d="100"/>
      </p:scale>
      <p:origin x="0" y="53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-2952" y="-108"/>
      </p:cViewPr>
      <p:guideLst>
        <p:guide orient="horz" pos="3127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9475FFF9-468F-4A44-94C4-007707C280D2}" type="datetimeFigureOut">
              <a:rPr lang="de-DE" smtClean="0"/>
              <a:t>19.10.2016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905401F5-088A-7444-B95A-A5771689DCF0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4234132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/>
          <a:lstStyle>
            <a:lvl1pPr algn="r">
              <a:defRPr sz="1200"/>
            </a:lvl1pPr>
          </a:lstStyle>
          <a:p>
            <a:fld id="{3EF4BE10-A985-CB4A-ADE5-E67BDA02AB25}" type="datetimeFigureOut">
              <a:rPr lang="en-US" smtClean="0"/>
              <a:t>10/19/201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08" tIns="46054" rIns="92108" bIns="46054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7"/>
          </a:xfrm>
          <a:prstGeom prst="rect">
            <a:avLst/>
          </a:prstGeom>
        </p:spPr>
        <p:txBody>
          <a:bodyPr vert="horz" lIns="92108" tIns="46054" rIns="92108" bIns="46054" rtlCol="0"/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2" y="9428583"/>
            <a:ext cx="2945660" cy="496332"/>
          </a:xfrm>
          <a:prstGeom prst="rect">
            <a:avLst/>
          </a:prstGeom>
        </p:spPr>
        <p:txBody>
          <a:bodyPr vert="horz" lIns="92108" tIns="46054" rIns="92108" bIns="46054" rtlCol="0" anchor="b"/>
          <a:lstStyle>
            <a:lvl1pPr algn="r">
              <a:defRPr sz="1200"/>
            </a:lvl1pPr>
          </a:lstStyle>
          <a:p>
            <a:fld id="{C5A451B0-B4A3-6244-BD97-12275BA1DB85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701068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A451B0-B4A3-6244-BD97-12275BA1DB8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1743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1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42256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PPT.Titelbild_Motorad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6" r="1806"/>
          <a:stretch/>
        </p:blipFill>
        <p:spPr>
          <a:xfrm>
            <a:off x="-1" y="0"/>
            <a:ext cx="9144001" cy="5900738"/>
          </a:xfrm>
          <a:prstGeom prst="rect">
            <a:avLst/>
          </a:prstGeom>
        </p:spPr>
      </p:pic>
      <p:sp>
        <p:nvSpPr>
          <p:cNvPr id="10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chemeClr val="bg1">
              <a:alpha val="6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3916600"/>
            <a:ext cx="8437431" cy="555020"/>
          </a:xfrm>
          <a:prstGeom prst="rect">
            <a:avLst/>
          </a:prstGeom>
        </p:spPr>
        <p:txBody>
          <a:bodyPr vert="horz" lIns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accent6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br>
              <a:rPr lang="en-US" noProof="0" dirty="0" smtClean="0"/>
            </a:br>
            <a:endParaRPr lang="en-US" noProof="0" dirty="0"/>
          </a:p>
        </p:txBody>
      </p:sp>
      <p:sp>
        <p:nvSpPr>
          <p:cNvPr id="8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966444" y="4475078"/>
            <a:ext cx="5868000" cy="41803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l">
              <a:lnSpc>
                <a:spcPts val="3000"/>
              </a:lnSpc>
              <a:spcBef>
                <a:spcPts val="0"/>
              </a:spcBef>
              <a:buNone/>
              <a:defRPr sz="2800" b="1" i="0" baseline="0">
                <a:solidFill>
                  <a:schemeClr val="accent6"/>
                </a:solidFill>
                <a:latin typeface="Arial"/>
                <a:cs typeface="Cambria"/>
              </a:defRPr>
            </a:lvl1pPr>
            <a:lvl2pPr marL="5760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521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28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04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8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4563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0324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6084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Subtitle of presentation</a:t>
            </a:r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2966444" y="5055433"/>
            <a:ext cx="5868000" cy="360000"/>
          </a:xfrm>
          <a:prstGeom prst="rect">
            <a:avLst/>
          </a:prstGeom>
        </p:spPr>
        <p:txBody>
          <a:bodyPr lIns="0" anchor="b">
            <a:norm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Name, Position</a:t>
            </a:r>
            <a:endParaRPr lang="en-US" noProof="0" dirty="0"/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966444" y="5416676"/>
            <a:ext cx="5868000" cy="360000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2000" baseline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Event, Date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6107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/>
          <p:cNvSpPr>
            <a:spLocks noGrp="1"/>
          </p:cNvSpPr>
          <p:nvPr>
            <p:ph type="body" sz="quarter" idx="12"/>
          </p:nvPr>
        </p:nvSpPr>
        <p:spPr>
          <a:xfrm>
            <a:off x="355829" y="4977963"/>
            <a:ext cx="8478000" cy="19389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eaLnBrk="1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noProof="0" smtClean="0"/>
              <a:t>Textmasterformat bearbeiten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365125" y="5467364"/>
            <a:ext cx="8478000" cy="2539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>
            <a:spAutoFit/>
          </a:bodyPr>
          <a:lstStyle/>
          <a:p>
            <a:pPr lvl="0" eaLnBrk="1">
              <a:spcBef>
                <a:spcPts val="300"/>
              </a:spcBef>
            </a:pPr>
            <a:endParaRPr lang="en-US" sz="1050" noProof="0" dirty="0" smtClean="0">
              <a:solidFill>
                <a:schemeClr val="bg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371749" y="5206143"/>
            <a:ext cx="8459514" cy="1030274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050" baseline="0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2pPr>
            <a:lvl3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3pPr>
            <a:lvl4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4pPr>
            <a:lvl5pPr marL="0" indent="0">
              <a:buFontTx/>
              <a:buNone/>
              <a:defRPr sz="1600">
                <a:solidFill>
                  <a:srgbClr val="9B9C9D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add text</a:t>
            </a:r>
          </a:p>
          <a:p>
            <a:pPr lvl="0"/>
            <a:endParaRPr lang="en-US" noProof="0" dirty="0"/>
          </a:p>
        </p:txBody>
      </p:sp>
      <p:sp>
        <p:nvSpPr>
          <p:cNvPr id="6" name="Rectangle 2"/>
          <p:cNvSpPr/>
          <p:nvPr userDrawn="1"/>
        </p:nvSpPr>
        <p:spPr>
          <a:xfrm>
            <a:off x="0" y="-4049"/>
            <a:ext cx="9144000" cy="18087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1"/>
            <a:endParaRPr lang="en-US" sz="135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784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nical Photos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 marL="0" indent="0"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Tx/>
              <a:buNone/>
              <a:defRPr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>
                <a:solidFill>
                  <a:schemeClr val="bg1"/>
                </a:solidFill>
              </a:defRPr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5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pic>
        <p:nvPicPr>
          <p:cNvPr id="16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9219" y="6469200"/>
            <a:ext cx="1020654" cy="221403"/>
          </a:xfrm>
          <a:prstGeom prst="rect">
            <a:avLst/>
          </a:prstGeom>
        </p:spPr>
      </p:pic>
      <p:sp>
        <p:nvSpPr>
          <p:cNvPr id="17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967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45004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 userDrawn="1"/>
        </p:nvSpPr>
        <p:spPr>
          <a:xfrm>
            <a:off x="0" y="0"/>
            <a:ext cx="9144000" cy="5897880"/>
          </a:xfrm>
          <a:prstGeom prst="rect">
            <a:avLst/>
          </a:prstGeom>
          <a:solidFill>
            <a:srgbClr val="8FB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12" name="Rectangle 8"/>
          <p:cNvSpPr/>
          <p:nvPr userDrawn="1"/>
        </p:nvSpPr>
        <p:spPr>
          <a:xfrm>
            <a:off x="2" y="3977640"/>
            <a:ext cx="9143998" cy="960120"/>
          </a:xfrm>
          <a:prstGeom prst="rect">
            <a:avLst/>
          </a:prstGeom>
          <a:solidFill>
            <a:srgbClr val="ABCB5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63669" y="4180190"/>
            <a:ext cx="8442000" cy="555020"/>
          </a:xfrm>
          <a:prstGeom prst="rect">
            <a:avLst/>
          </a:prstGeom>
        </p:spPr>
        <p:txBody>
          <a:bodyPr vert="horz" lIns="0" anchor="ctr" anchorCtr="0"/>
          <a:lstStyle>
            <a:lvl1pPr algn="l">
              <a:lnSpc>
                <a:spcPct val="100000"/>
              </a:lnSpc>
              <a:defRPr sz="3600" b="1" i="0" u="none" cap="none" baseline="0">
                <a:solidFill>
                  <a:schemeClr val="bg2"/>
                </a:solidFill>
                <a:latin typeface="Arial"/>
                <a:cs typeface="Calibri"/>
              </a:defRPr>
            </a:lvl1pPr>
          </a:lstStyle>
          <a:p>
            <a:r>
              <a:rPr lang="en-US" noProof="0" dirty="0" smtClean="0"/>
              <a:t>Title of presentation</a:t>
            </a:r>
            <a:endParaRPr lang="en-US" noProof="0" dirty="0"/>
          </a:p>
        </p:txBody>
      </p:sp>
      <p:pic>
        <p:nvPicPr>
          <p:cNvPr id="20" name="Picture 3" descr="E:\Büro\Klienten\Klienten_Sonstige\Straumann\Straumann_Logo_RGB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9720" y="5900738"/>
            <a:ext cx="2254280" cy="957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197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4386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365125" y="1360488"/>
            <a:ext cx="8412163" cy="4894262"/>
          </a:xfrm>
        </p:spPr>
        <p:txBody>
          <a:bodyPr/>
          <a:lstStyle>
            <a:lvl1pPr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defRPr/>
            </a:lvl1pPr>
            <a:lvl2pPr>
              <a:spcAft>
                <a:spcPts val="300"/>
              </a:spcAft>
              <a:buClr>
                <a:schemeClr val="accent2"/>
              </a:buClr>
              <a:defRPr/>
            </a:lvl2pPr>
            <a:lvl3pPr>
              <a:spcAft>
                <a:spcPts val="300"/>
              </a:spcAft>
              <a:buClr>
                <a:schemeClr val="accent2"/>
              </a:buClr>
              <a:defRPr/>
            </a:lvl3pPr>
            <a:lvl4pPr>
              <a:spcAft>
                <a:spcPts val="300"/>
              </a:spcAft>
              <a:buClr>
                <a:schemeClr val="accent2"/>
              </a:buClr>
              <a:defRPr/>
            </a:lvl4pPr>
            <a:lvl5pPr>
              <a:spcAft>
                <a:spcPts val="300"/>
              </a:spcAft>
              <a:buClr>
                <a:schemeClr val="accent2"/>
              </a:buClr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0906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without Sour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44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893194" y="1360488"/>
            <a:ext cx="7884094" cy="482685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5125" y="1360773"/>
            <a:ext cx="437358" cy="482400"/>
          </a:xfrm>
          <a:solidFill>
            <a:schemeClr val="accent1"/>
          </a:solidFill>
        </p:spPr>
        <p:txBody>
          <a:bodyPr lIns="36000" tIns="36000" rIns="36000" bIns="36000"/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893194" y="2000611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5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365125" y="2000611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6" name="Textplatzhalter 2"/>
          <p:cNvSpPr>
            <a:spLocks noGrp="1"/>
          </p:cNvSpPr>
          <p:nvPr>
            <p:ph type="body" sz="quarter" idx="22"/>
          </p:nvPr>
        </p:nvSpPr>
        <p:spPr>
          <a:xfrm>
            <a:off x="893194" y="2640734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7" name="Textplatzhalter 2"/>
          <p:cNvSpPr>
            <a:spLocks noGrp="1"/>
          </p:cNvSpPr>
          <p:nvPr>
            <p:ph type="body" sz="quarter" idx="23" hasCustomPrompt="1"/>
          </p:nvPr>
        </p:nvSpPr>
        <p:spPr>
          <a:xfrm>
            <a:off x="365125" y="2640734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28" name="Textplatzhalter 2"/>
          <p:cNvSpPr>
            <a:spLocks noGrp="1"/>
          </p:cNvSpPr>
          <p:nvPr>
            <p:ph type="body" sz="quarter" idx="24"/>
          </p:nvPr>
        </p:nvSpPr>
        <p:spPr>
          <a:xfrm>
            <a:off x="893194" y="3280857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9" name="Textplatzhalter 2"/>
          <p:cNvSpPr>
            <a:spLocks noGrp="1"/>
          </p:cNvSpPr>
          <p:nvPr>
            <p:ph type="body" sz="quarter" idx="25" hasCustomPrompt="1"/>
          </p:nvPr>
        </p:nvSpPr>
        <p:spPr>
          <a:xfrm>
            <a:off x="365125" y="3280857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26"/>
          </p:nvPr>
        </p:nvSpPr>
        <p:spPr>
          <a:xfrm>
            <a:off x="893194" y="3920980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27" hasCustomPrompt="1"/>
          </p:nvPr>
        </p:nvSpPr>
        <p:spPr>
          <a:xfrm>
            <a:off x="365125" y="3920980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32" name="Textplatzhalter 2"/>
          <p:cNvSpPr>
            <a:spLocks noGrp="1"/>
          </p:cNvSpPr>
          <p:nvPr>
            <p:ph type="body" sz="quarter" idx="28"/>
          </p:nvPr>
        </p:nvSpPr>
        <p:spPr>
          <a:xfrm>
            <a:off x="893194" y="4561105"/>
            <a:ext cx="7884094" cy="482685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>
              <a:buNone/>
              <a:defRPr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33" name="Textplatzhalter 2"/>
          <p:cNvSpPr>
            <a:spLocks noGrp="1"/>
          </p:cNvSpPr>
          <p:nvPr>
            <p:ph type="body" sz="quarter" idx="29" hasCustomPrompt="1"/>
          </p:nvPr>
        </p:nvSpPr>
        <p:spPr>
          <a:xfrm>
            <a:off x="365125" y="4561105"/>
            <a:ext cx="437358" cy="482400"/>
          </a:xfrm>
          <a:solidFill>
            <a:schemeClr val="accent5"/>
          </a:solidFill>
        </p:spPr>
        <p:txBody>
          <a:bodyPr lIns="36000" tIns="36000" rIns="36000" bIns="36000"/>
          <a:lstStyle>
            <a:lvl1pPr marL="0" indent="0" algn="ctr">
              <a:buNone/>
              <a:defRPr b="0"/>
            </a:lvl1pPr>
          </a:lstStyle>
          <a:p>
            <a:pPr lvl="0"/>
            <a:r>
              <a:rPr lang="en-US" dirty="0" smtClean="0"/>
              <a:t>#</a:t>
            </a:r>
            <a:endParaRPr lang="en-US" dirty="0"/>
          </a:p>
        </p:txBody>
      </p:sp>
      <p:sp>
        <p:nvSpPr>
          <p:cNvPr id="18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1777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laceholder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360000" y="1360488"/>
            <a:ext cx="8417288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84168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26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oxes with title -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13" name="Textplatzhalter 2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Pro</a:t>
            </a:r>
            <a:endParaRPr lang="en-US" dirty="0"/>
          </a:p>
        </p:txBody>
      </p:sp>
      <p:sp>
        <p:nvSpPr>
          <p:cNvPr id="16" name="Textplatzhalter 2"/>
          <p:cNvSpPr>
            <a:spLocks noGrp="1"/>
          </p:cNvSpPr>
          <p:nvPr>
            <p:ph type="body" sz="quarter" idx="21" hasCustomPrompt="1"/>
          </p:nvPr>
        </p:nvSpPr>
        <p:spPr>
          <a:xfrm>
            <a:off x="4633913" y="1360488"/>
            <a:ext cx="4143375" cy="431999"/>
          </a:xfrm>
          <a:solidFill>
            <a:schemeClr val="accent1"/>
          </a:solidFill>
        </p:spPr>
        <p:txBody>
          <a:bodyPr lIns="36000" tIns="36000" rIns="36000" bIns="36000" anchor="ctr" anchorCtr="0">
            <a:noAutofit/>
          </a:bodyPr>
          <a:lstStyle>
            <a:lvl1pPr marL="0" indent="0" algn="ctr">
              <a:buNone/>
              <a:defRPr b="1"/>
            </a:lvl1pPr>
          </a:lstStyle>
          <a:p>
            <a:pPr lvl="0"/>
            <a:r>
              <a:rPr lang="en-US" dirty="0" smtClean="0"/>
              <a:t>Con</a:t>
            </a:r>
            <a:endParaRPr lang="en-US" dirty="0"/>
          </a:p>
        </p:txBody>
      </p:sp>
      <p:sp>
        <p:nvSpPr>
          <p:cNvPr id="12" name="Inhaltsplatzhalter 3"/>
          <p:cNvSpPr>
            <a:spLocks noGrp="1"/>
          </p:cNvSpPr>
          <p:nvPr>
            <p:ph sz="quarter" idx="20"/>
          </p:nvPr>
        </p:nvSpPr>
        <p:spPr>
          <a:xfrm>
            <a:off x="360000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7" name="Inhaltsplatzhalter 3"/>
          <p:cNvSpPr>
            <a:spLocks noGrp="1"/>
          </p:cNvSpPr>
          <p:nvPr>
            <p:ph sz="quarter" idx="22"/>
          </p:nvPr>
        </p:nvSpPr>
        <p:spPr>
          <a:xfrm>
            <a:off x="4633913" y="1812925"/>
            <a:ext cx="4143600" cy="4441825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22418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 left, text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1449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62604" y="211574"/>
            <a:ext cx="8403481" cy="86400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2800" b="1" baseline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add a title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48000" y="6570000"/>
            <a:ext cx="6892925" cy="12311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/>
            </a:lvl1pPr>
          </a:lstStyle>
          <a:p>
            <a:pPr lvl="0"/>
            <a:r>
              <a:rPr lang="en-US" noProof="0" dirty="0" smtClean="0"/>
              <a:t>Placeholder Source/Footnot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/>
          </p:nvPr>
        </p:nvSpPr>
        <p:spPr>
          <a:xfrm>
            <a:off x="360000" y="1360489"/>
            <a:ext cx="2425403" cy="4894260"/>
          </a:xfrm>
          <a:prstGeom prst="homePlate">
            <a:avLst>
              <a:gd name="adj" fmla="val 19725"/>
            </a:avLst>
          </a:prstGeom>
          <a:solidFill>
            <a:schemeClr val="accent1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  <p:sp>
        <p:nvSpPr>
          <p:cNvPr id="15" name="Textplatzhalter 2"/>
          <p:cNvSpPr>
            <a:spLocks noGrp="1"/>
          </p:cNvSpPr>
          <p:nvPr>
            <p:ph type="body" sz="quarter" idx="20"/>
          </p:nvPr>
        </p:nvSpPr>
        <p:spPr>
          <a:xfrm>
            <a:off x="2995688" y="1360489"/>
            <a:ext cx="5781600" cy="4894260"/>
          </a:xfrm>
          <a:solidFill>
            <a:schemeClr val="accent5"/>
          </a:solidFill>
        </p:spPr>
        <p:txBody>
          <a:bodyPr lIns="36000" tIns="36000" rIns="36000" bIns="3600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0377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>
              <a:defRPr lang="en-US" noProof="1" smtClean="0"/>
            </a:lvl1pPr>
          </a:lstStyle>
          <a:p>
            <a:fld id="{1A6AB51D-6EB0-4E57-9FF1-82A28F807C3B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4344360" y="6734889"/>
            <a:ext cx="469679" cy="123111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>
              <a:defRPr lang="de-DE" smtClean="0"/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3791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33587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1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3" descr="E:\Büro\Klienten\Klienten_Sonstige\Straumann\Straumann_Logo_no_claim_RGB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2753" y="6469034"/>
            <a:ext cx="1012827" cy="219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Gerade Verbindung 6"/>
          <p:cNvCxnSpPr/>
          <p:nvPr/>
        </p:nvCxnSpPr>
        <p:spPr>
          <a:xfrm>
            <a:off x="360000" y="1159619"/>
            <a:ext cx="8413200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57188" y="6426000"/>
            <a:ext cx="463550" cy="2687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b="0" i="0">
                <a:solidFill>
                  <a:srgbClr val="58585A"/>
                </a:solidFill>
                <a:latin typeface="Arial"/>
                <a:cs typeface="Arial"/>
              </a:defRPr>
            </a:lvl1pPr>
          </a:lstStyle>
          <a:p>
            <a:fld id="{1A6AB51D-6EB0-4E57-9FF1-82A28F807C3B}" type="slidenum">
              <a:rPr lang="en-US" noProof="1" smtClean="0"/>
              <a:pPr/>
              <a:t>‹Nr.›</a:t>
            </a:fld>
            <a:endParaRPr lang="en-US" noProof="1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3052800" y="6696000"/>
            <a:ext cx="3052800" cy="1620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ctr">
              <a:defRPr sz="800" i="1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Intro Deck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359999" y="1360488"/>
            <a:ext cx="8418783" cy="46085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3024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52" r:id="rId2"/>
    <p:sldLayoutId id="2147483694" r:id="rId3"/>
    <p:sldLayoutId id="2147483722" r:id="rId4"/>
    <p:sldLayoutId id="2147483728" r:id="rId5"/>
    <p:sldLayoutId id="2147483753" r:id="rId6"/>
    <p:sldLayoutId id="2147483726" r:id="rId7"/>
    <p:sldLayoutId id="2147483729" r:id="rId8"/>
    <p:sldLayoutId id="2147483721" r:id="rId9"/>
    <p:sldLayoutId id="2147483720" r:id="rId10"/>
    <p:sldLayoutId id="2147483754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457200" rtl="0" eaLnBrk="1" latinLnBrk="0" hangingPunct="1">
        <a:lnSpc>
          <a:spcPct val="120000"/>
        </a:lnSpc>
        <a:spcBef>
          <a:spcPts val="60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20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1pPr>
      <a:lvl2pPr marL="539750" indent="-2762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2pPr>
      <a:lvl3pPr marL="803275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3pPr>
      <a:lvl4pPr marL="1081088" indent="-277813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b="0" i="0" kern="1200" baseline="0" smtClean="0">
          <a:solidFill>
            <a:schemeClr val="bg2"/>
          </a:solidFill>
          <a:latin typeface="Arial"/>
          <a:ea typeface="+mn-ea"/>
          <a:cs typeface="Arial"/>
        </a:defRPr>
      </a:lvl4pPr>
      <a:lvl5pPr marL="1344613" indent="-263525" algn="l" defTabSz="457200" rtl="0" eaLnBrk="1" latinLnBrk="0" hangingPunct="1">
        <a:lnSpc>
          <a:spcPct val="12000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anose="05000000000000000000" pitchFamily="2" charset="2"/>
        <a:buChar char="§"/>
        <a:defRPr lang="de-DE" sz="1800" kern="1200" baseline="0" smtClean="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effectLst/>
              </a:rPr>
              <a:t>Straumann</a:t>
            </a:r>
            <a:r>
              <a:rPr lang="en-US" baseline="30000" dirty="0">
                <a:effectLst/>
              </a:rPr>
              <a:t>®</a:t>
            </a:r>
            <a:r>
              <a:rPr lang="en-US" dirty="0">
                <a:effectLst/>
              </a:rPr>
              <a:t> </a:t>
            </a:r>
            <a:r>
              <a:rPr lang="en-US" dirty="0" err="1" smtClean="0">
                <a:effectLst/>
              </a:rPr>
              <a:t>Osteotome</a:t>
            </a:r>
            <a:r>
              <a:rPr lang="en-US" b="0" dirty="0">
                <a:effectLst/>
              </a:rPr>
              <a:t/>
            </a:r>
            <a:br>
              <a:rPr lang="en-US" b="0" dirty="0">
                <a:effectLst/>
              </a:rPr>
            </a:br>
            <a:endParaRPr lang="en-US" dirty="0">
              <a:effectLst/>
            </a:endParaRP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sz="20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5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 err="1" smtClean="0"/>
              <a:t>Straumann</a:t>
            </a:r>
            <a:r>
              <a:rPr lang="de-DE" dirty="0" smtClean="0"/>
              <a:t> GmbH</a:t>
            </a:r>
          </a:p>
          <a:p>
            <a:r>
              <a:rPr lang="de-DE" dirty="0" smtClean="0"/>
              <a:t>Heinrich-von-Stephan Straße 21</a:t>
            </a:r>
          </a:p>
          <a:p>
            <a:r>
              <a:rPr lang="de-DE" dirty="0" smtClean="0"/>
              <a:t>DE- 79100 Freiburg</a:t>
            </a:r>
          </a:p>
          <a:p>
            <a:r>
              <a:rPr lang="de-DE" dirty="0" smtClean="0"/>
              <a:t>Tel.: 0761/ 45010</a:t>
            </a:r>
          </a:p>
          <a:p>
            <a:r>
              <a:rPr lang="de-DE" dirty="0" smtClean="0"/>
              <a:t>Fax: 0761/ 4501 149</a:t>
            </a:r>
          </a:p>
          <a:p>
            <a:r>
              <a:rPr lang="de-DE" dirty="0" smtClean="0"/>
              <a:t>www.straumann.de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9116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tome</a:t>
            </a:r>
            <a:r>
              <a:rPr lang="de-DE" dirty="0" smtClean="0"/>
              <a:t> für die Knochenkondensation</a:t>
            </a:r>
            <a:endParaRPr lang="de-DE" dirty="0"/>
          </a:p>
        </p:txBody>
      </p:sp>
      <p:pic>
        <p:nvPicPr>
          <p:cNvPr id="5" name="Picture 10" descr="046_502_P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331913" y="1412875"/>
            <a:ext cx="6049962" cy="1065213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 descr="046_512_P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331913" y="3500438"/>
            <a:ext cx="6049962" cy="1482725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9"/>
          <p:cNvSpPr txBox="1">
            <a:spLocks noChangeArrowheads="1"/>
          </p:cNvSpPr>
          <p:nvPr/>
        </p:nvSpPr>
        <p:spPr>
          <a:xfrm>
            <a:off x="4648200" y="836613"/>
            <a:ext cx="4114800" cy="5472112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de-DE"/>
            </a:defPPr>
            <a:lvl1pPr marL="0" algn="ctr" defTabSz="457200" rtl="0" eaLnBrk="1" latinLnBrk="0" hangingPunct="1">
              <a:defRPr lang="de-DE" sz="800" i="1" kern="120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sz="2400" b="1" smtClean="0">
                <a:sym typeface="Times" pitchFamily="18" charset="0"/>
              </a:rPr>
              <a:t>4 gerade</a:t>
            </a: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sz="2400" b="1" smtClean="0">
                <a:sym typeface="Times" pitchFamily="18" charset="0"/>
              </a:rPr>
              <a:t>4 abgewinkelt</a:t>
            </a:r>
            <a:endParaRPr lang="en-GB" sz="2400" b="1">
              <a:sym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809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tome</a:t>
            </a:r>
            <a:r>
              <a:rPr lang="de-DE" dirty="0" smtClean="0"/>
              <a:t> für die Knochenkondensation</a:t>
            </a:r>
            <a:endParaRPr lang="de-DE" dirty="0"/>
          </a:p>
        </p:txBody>
      </p:sp>
      <p:sp>
        <p:nvSpPr>
          <p:cNvPr id="6" name="Rectangle 12"/>
          <p:cNvSpPr txBox="1">
            <a:spLocks noChangeArrowheads="1"/>
          </p:cNvSpPr>
          <p:nvPr/>
        </p:nvSpPr>
        <p:spPr>
          <a:xfrm>
            <a:off x="250825" y="1125538"/>
            <a:ext cx="8642350" cy="4645025"/>
          </a:xfrm>
          <a:prstGeom prst="rect">
            <a:avLst/>
          </a:prstGeom>
        </p:spPr>
        <p:txBody>
          <a:bodyPr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0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b="1" smtClean="0">
                <a:sym typeface="Times" pitchFamily="18" charset="0"/>
              </a:rPr>
              <a:t>Konusform</a:t>
            </a: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smtClean="0">
                <a:sym typeface="Times" pitchFamily="18" charset="0"/>
              </a:rPr>
              <a:t>	        2,2 mm	         2,8 mm             3,5 mm       	   4,2 mm</a:t>
            </a:r>
            <a:endParaRPr lang="en-GB" dirty="0">
              <a:sym typeface="Times" pitchFamily="18" charset="0"/>
            </a:endParaRPr>
          </a:p>
        </p:txBody>
      </p:sp>
      <p:pic>
        <p:nvPicPr>
          <p:cNvPr id="7" name="Picture 8" descr="046_500_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279525" y="1916113"/>
            <a:ext cx="2124075" cy="3671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9" descr="046_501_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16238" y="1916113"/>
            <a:ext cx="2124075" cy="3671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0" descr="046_502_P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81563" y="1916113"/>
            <a:ext cx="2124075" cy="3671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046_503_P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71238" y="1916113"/>
            <a:ext cx="2124075" cy="36718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7243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tome</a:t>
            </a:r>
            <a:r>
              <a:rPr lang="de-DE" dirty="0" smtClean="0"/>
              <a:t> für die Knochenkondensation</a:t>
            </a:r>
            <a:endParaRPr lang="de-DE" dirty="0"/>
          </a:p>
        </p:txBody>
      </p:sp>
      <p:pic>
        <p:nvPicPr>
          <p:cNvPr id="7" name="Picture 2" descr="Untitled-18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425" y="1436000"/>
            <a:ext cx="2743200" cy="22225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8" name="Picture 3" descr="Untitled-18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5150" y="1362975"/>
            <a:ext cx="2311400" cy="24257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5" descr="046_500_PP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87450" y="3936313"/>
            <a:ext cx="2124075" cy="223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 descr="046_501_PP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555875" y="3936313"/>
            <a:ext cx="2124075" cy="223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7" descr="046_502_PP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4067175" y="3936313"/>
            <a:ext cx="2124075" cy="223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8" descr="046_503_PP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651500" y="3936313"/>
            <a:ext cx="2124075" cy="22320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55099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otome</a:t>
            </a:r>
            <a:r>
              <a:rPr lang="de-DE" dirty="0" smtClean="0"/>
              <a:t> für die partielle </a:t>
            </a:r>
            <a:r>
              <a:rPr lang="de-DE" dirty="0" err="1" smtClean="0"/>
              <a:t>Sinusbodenelevetion</a:t>
            </a:r>
            <a:endParaRPr lang="de-DE" dirty="0"/>
          </a:p>
        </p:txBody>
      </p:sp>
      <p:pic>
        <p:nvPicPr>
          <p:cNvPr id="6" name="Picture 10" descr="046_522_P"/>
          <p:cNvPicPr>
            <a:picLocks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81000" y="2111900"/>
            <a:ext cx="4114800" cy="293688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046_532_P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81000" y="4663013"/>
            <a:ext cx="4114800" cy="815975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9"/>
          <p:cNvSpPr txBox="1">
            <a:spLocks noChangeArrowheads="1"/>
          </p:cNvSpPr>
          <p:nvPr/>
        </p:nvSpPr>
        <p:spPr>
          <a:xfrm>
            <a:off x="5092860" y="215742"/>
            <a:ext cx="3265025" cy="5170646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marL="0" algn="ctr" defTabSz="457200" rtl="0" eaLnBrk="1" latinLnBrk="0" hangingPunct="1">
              <a:defRPr lang="de-DE" sz="800" i="1" kern="1200" smtClean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sz="2400" b="1" dirty="0" smtClean="0">
                <a:sym typeface="Times" pitchFamily="18" charset="0"/>
              </a:rPr>
              <a:t>3 </a:t>
            </a:r>
            <a:r>
              <a:rPr lang="en-GB" sz="2400" b="1" dirty="0" err="1" smtClean="0">
                <a:sym typeface="Times" pitchFamily="18" charset="0"/>
              </a:rPr>
              <a:t>gerade</a:t>
            </a: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endParaRPr lang="en-GB" sz="2400" b="1" dirty="0" smtClean="0">
              <a:sym typeface="Times" pitchFamily="18" charset="0"/>
            </a:endParaRPr>
          </a:p>
          <a:p>
            <a:pPr>
              <a:spcBef>
                <a:spcPct val="0"/>
              </a:spcBef>
              <a:buFont typeface="Times" pitchFamily="18" charset="0"/>
              <a:buNone/>
            </a:pPr>
            <a:r>
              <a:rPr lang="en-GB" sz="2400" b="1" dirty="0" smtClean="0">
                <a:sym typeface="Times" pitchFamily="18" charset="0"/>
              </a:rPr>
              <a:t>3 </a:t>
            </a:r>
            <a:r>
              <a:rPr lang="en-GB" sz="2400" b="1" dirty="0" err="1" smtClean="0">
                <a:sym typeface="Times" pitchFamily="18" charset="0"/>
              </a:rPr>
              <a:t>abgewinkelt</a:t>
            </a:r>
            <a:endParaRPr lang="en-GB" sz="2400" b="1" dirty="0">
              <a:sym typeface="Times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3445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6" name="Rectangle 11"/>
          <p:cNvSpPr txBox="1">
            <a:spLocks noChangeArrowheads="1"/>
          </p:cNvSpPr>
          <p:nvPr/>
        </p:nvSpPr>
        <p:spPr>
          <a:xfrm>
            <a:off x="725400" y="1831613"/>
            <a:ext cx="8642350" cy="4645025"/>
          </a:xfrm>
          <a:prstGeom prst="rect">
            <a:avLst/>
          </a:prstGeom>
        </p:spPr>
        <p:txBody>
          <a:bodyPr/>
          <a:lstStyle>
            <a:lvl1pPr marL="263525" indent="-263525" algn="l" defTabSz="457200" rtl="0" eaLnBrk="1" latinLnBrk="0" hangingPunct="1">
              <a:lnSpc>
                <a:spcPct val="120000"/>
              </a:lnSpc>
              <a:spcBef>
                <a:spcPts val="60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20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1pPr>
            <a:lvl2pPr marL="539750" indent="-2762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2pPr>
            <a:lvl3pPr marL="803275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3pPr>
            <a:lvl4pPr marL="1081088" indent="-277813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b="0" i="0" kern="1200" baseline="0" smtClean="0">
                <a:solidFill>
                  <a:schemeClr val="bg2"/>
                </a:solidFill>
                <a:latin typeface="Arial"/>
                <a:ea typeface="+mn-ea"/>
                <a:cs typeface="Arial"/>
              </a:defRPr>
            </a:lvl4pPr>
            <a:lvl5pPr marL="1344613" indent="-263525" algn="l" defTabSz="4572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lang="de-DE" sz="1800" kern="1200" baseline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 typeface="Times" pitchFamily="18" charset="0"/>
              <a:buNone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 typeface="Times" pitchFamily="18" charset="0"/>
              <a:buNone/>
            </a:pPr>
            <a:r>
              <a:rPr lang="en-GB" b="1" smtClean="0">
                <a:sym typeface="Times" pitchFamily="18" charset="0"/>
              </a:rPr>
              <a:t>Zylinderform</a:t>
            </a: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Tx/>
              <a:buChar char="•"/>
            </a:pPr>
            <a:endParaRPr lang="en-GB" b="1" smtClean="0">
              <a:sym typeface="Times" pitchFamily="18" charset="0"/>
            </a:endParaRPr>
          </a:p>
          <a:p>
            <a:pPr>
              <a:lnSpc>
                <a:spcPct val="90000"/>
              </a:lnSpc>
              <a:buFont typeface="Times" pitchFamily="18" charset="0"/>
              <a:buNone/>
            </a:pPr>
            <a:r>
              <a:rPr lang="en-GB" smtClean="0">
                <a:sym typeface="Times" pitchFamily="18" charset="0"/>
              </a:rPr>
              <a:t>				     2,8 mm        3,5 mm	       4,2 mm</a:t>
            </a:r>
            <a:endParaRPr lang="en-GB">
              <a:sym typeface="Times" pitchFamily="18" charset="0"/>
            </a:endParaRPr>
          </a:p>
        </p:txBody>
      </p:sp>
      <p:pic>
        <p:nvPicPr>
          <p:cNvPr id="7" name="Picture 7" descr="046_523_P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94399" y="1290034"/>
            <a:ext cx="866775" cy="4392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046_521_P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45226" y="1290034"/>
            <a:ext cx="952500" cy="4392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046_522_P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27214" y="1290033"/>
            <a:ext cx="866775" cy="43926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otome</a:t>
            </a:r>
            <a:r>
              <a:rPr lang="de-DE" dirty="0" smtClean="0"/>
              <a:t> für die partielle </a:t>
            </a:r>
            <a:r>
              <a:rPr lang="de-DE" dirty="0" err="1" smtClean="0"/>
              <a:t>Sinusbodeneleve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9111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pic>
        <p:nvPicPr>
          <p:cNvPr id="6" name="Picture 3" descr="osteotomedrill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71538" y="1565588"/>
            <a:ext cx="3003550" cy="4645025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osti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549900" y="1565588"/>
            <a:ext cx="2441575" cy="4645025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otome</a:t>
            </a:r>
            <a:r>
              <a:rPr lang="de-DE" dirty="0" smtClean="0"/>
              <a:t> für die partielle </a:t>
            </a:r>
            <a:r>
              <a:rPr lang="de-DE" dirty="0" err="1" smtClean="0"/>
              <a:t>Sinusbodeneleve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283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5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otome</a:t>
            </a:r>
            <a:r>
              <a:rPr lang="de-DE" dirty="0" smtClean="0"/>
              <a:t> für die partielle </a:t>
            </a:r>
            <a:r>
              <a:rPr lang="de-DE" dirty="0" err="1" smtClean="0"/>
              <a:t>Sinusbodenelevetion</a:t>
            </a:r>
            <a:endParaRPr lang="de-DE" dirty="0"/>
          </a:p>
        </p:txBody>
      </p:sp>
      <p:pic>
        <p:nvPicPr>
          <p:cNvPr id="6" name="Picture 3" descr="Untitled-18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635650" y="1484813"/>
            <a:ext cx="3726894" cy="3726894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 descr="osti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5541025" y="1484813"/>
            <a:ext cx="2570867" cy="4684499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63275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A6AB51D-6EB0-4E57-9FF1-82A28F807C3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Intro Deck</a:t>
            </a:r>
            <a:endParaRPr lang="en-US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Osteotome</a:t>
            </a:r>
            <a:r>
              <a:rPr lang="de-DE" dirty="0" smtClean="0"/>
              <a:t> für die partielle </a:t>
            </a:r>
            <a:r>
              <a:rPr lang="de-DE" dirty="0" err="1" smtClean="0"/>
              <a:t>Sinusbodenelevetion</a:t>
            </a:r>
            <a:endParaRPr lang="de-DE" dirty="0"/>
          </a:p>
        </p:txBody>
      </p:sp>
      <p:pic>
        <p:nvPicPr>
          <p:cNvPr id="8" name="Picture 4" descr="osti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844952" y="1820475"/>
            <a:ext cx="2561260" cy="4666994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osteotomeimplant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593857" y="1820474"/>
            <a:ext cx="3712968" cy="3376337"/>
          </a:xfrm>
          <a:prstGeom prst="rect">
            <a:avLst/>
          </a:prstGeo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35820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/&gt;&lt;m_precDefaultPercent/&gt;&lt;m_precDefaultDate/&gt;&lt;m_precDefaultYear/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RM_PowerPoint_4-3">
  <a:themeElements>
    <a:clrScheme name="Straumann_Juni">
      <a:dk1>
        <a:srgbClr val="58585A"/>
      </a:dk1>
      <a:lt1>
        <a:srgbClr val="FFFFFF"/>
      </a:lt1>
      <a:dk2>
        <a:srgbClr val="FFFFFF"/>
      </a:dk2>
      <a:lt2>
        <a:srgbClr val="58585A"/>
      </a:lt2>
      <a:accent1>
        <a:srgbClr val="8FB91C"/>
      </a:accent1>
      <a:accent2>
        <a:srgbClr val="585857"/>
      </a:accent2>
      <a:accent3>
        <a:srgbClr val="878787"/>
      </a:accent3>
      <a:accent4>
        <a:srgbClr val="B1B2B3"/>
      </a:accent4>
      <a:accent5>
        <a:srgbClr val="D9D9DA"/>
      </a:accent5>
      <a:accent6>
        <a:srgbClr val="1E7539"/>
      </a:accent6>
      <a:hlink>
        <a:srgbClr val="217934"/>
      </a:hlink>
      <a:folHlink>
        <a:srgbClr val="87888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2000" dirty="0" smtClean="0">
            <a:solidFill>
              <a:schemeClr val="bg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TRM_PowerPoint_4-3</Template>
  <TotalTime>0</TotalTime>
  <Words>95</Words>
  <Application>Microsoft Office PowerPoint</Application>
  <PresentationFormat>Bildschirmpräsentation (4:3)</PresentationFormat>
  <Paragraphs>81</Paragraphs>
  <Slides>10</Slides>
  <Notes>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2" baseType="lpstr">
      <vt:lpstr>STRM_PowerPoint_4-3</vt:lpstr>
      <vt:lpstr>think-cell Folie</vt:lpstr>
      <vt:lpstr>Straumann® Osteotome </vt:lpstr>
      <vt:lpstr>Ostetome für die Knochenkondensation</vt:lpstr>
      <vt:lpstr>Ostetome für die Knochenkondensation</vt:lpstr>
      <vt:lpstr>Ostetome für die Knochenkondensation</vt:lpstr>
      <vt:lpstr>Osteotome für die partielle Sinusbodenelevetion</vt:lpstr>
      <vt:lpstr>Osteotome für die partielle Sinusbodenelevetion</vt:lpstr>
      <vt:lpstr>Osteotome für die partielle Sinusbodenelevetion</vt:lpstr>
      <vt:lpstr>Osteotome für die partielle Sinusbodenelevetion</vt:lpstr>
      <vt:lpstr>Osteotome für die partielle Sinusbodenelevetion</vt:lpstr>
      <vt:lpstr>PowerPoint-Präsentation</vt:lpstr>
    </vt:vector>
  </TitlesOfParts>
  <Company>Institut Strauman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omaterials@Straumann</dc:title>
  <dc:creator>Dunja Rudmann</dc:creator>
  <cp:lastModifiedBy>Maurizio Vitomarco</cp:lastModifiedBy>
  <cp:revision>74</cp:revision>
  <cp:lastPrinted>2015-05-21T11:17:03Z</cp:lastPrinted>
  <dcterms:created xsi:type="dcterms:W3CDTF">2016-04-03T15:36:19Z</dcterms:created>
  <dcterms:modified xsi:type="dcterms:W3CDTF">2016-10-19T09:57:38Z</dcterms:modified>
</cp:coreProperties>
</file>